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25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6688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ADDITIVE MANUFACTUR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21316"/>
            <a:ext cx="9249124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e and optimize lattice structures and define printer tray setup 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B608609-85BF-4515-8F73-574D008A9B2F}"/>
              </a:ext>
            </a:extLst>
          </p:cNvPr>
          <p:cNvGrpSpPr/>
          <p:nvPr/>
        </p:nvGrpSpPr>
        <p:grpSpPr>
          <a:xfrm>
            <a:off x="6003233" y="2673368"/>
            <a:ext cx="5779317" cy="3948187"/>
            <a:chOff x="5879049" y="2548284"/>
            <a:chExt cx="6299282" cy="430341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/>
            <a:srcRect t="2798" b="2581"/>
            <a:stretch/>
          </p:blipFill>
          <p:spPr>
            <a:xfrm>
              <a:off x="5879049" y="2548284"/>
              <a:ext cx="6299282" cy="2256240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6" name="Content Placeholder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1392999">
              <a:off x="7651063" y="5073392"/>
              <a:ext cx="3254958" cy="1778302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E75C282-5A63-4BE7-8DE9-4E319DE194F6}"/>
              </a:ext>
            </a:extLst>
          </p:cNvPr>
          <p:cNvSpPr/>
          <p:nvPr/>
        </p:nvSpPr>
        <p:spPr>
          <a:xfrm>
            <a:off x="495300" y="1866900"/>
            <a:ext cx="1510147" cy="8186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0B0967-AF33-4883-B41D-6780A8A90B4B}"/>
              </a:ext>
            </a:extLst>
          </p:cNvPr>
          <p:cNvSpPr/>
          <p:nvPr/>
        </p:nvSpPr>
        <p:spPr>
          <a:xfrm>
            <a:off x="2146154" y="1903476"/>
            <a:ext cx="7890878" cy="780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wants to innovate and exploit the value of additive manufacturing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attice creation and optimization creates new opportunities to exceed product quality, performance and durability standard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6BDBC5-32E2-4145-95A0-46EB6851CFD1}"/>
              </a:ext>
            </a:extLst>
          </p:cNvPr>
          <p:cNvSpPr/>
          <p:nvPr/>
        </p:nvSpPr>
        <p:spPr>
          <a:xfrm>
            <a:off x="495300" y="2734328"/>
            <a:ext cx="1510147" cy="9594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8658F6D-C0E7-4603-86BA-64FB3F616F34}"/>
              </a:ext>
            </a:extLst>
          </p:cNvPr>
          <p:cNvSpPr/>
          <p:nvPr/>
        </p:nvSpPr>
        <p:spPr>
          <a:xfrm>
            <a:off x="2146158" y="2734328"/>
            <a:ext cx="4013818" cy="959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elerate New Product Introduc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A0FB09-6879-41AA-9E2B-2DB3C9FDAAF0}"/>
              </a:ext>
            </a:extLst>
          </p:cNvPr>
          <p:cNvSpPr/>
          <p:nvPr/>
        </p:nvSpPr>
        <p:spPr>
          <a:xfrm>
            <a:off x="495300" y="3742534"/>
            <a:ext cx="1510147" cy="701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093D8E-023A-4976-A5A8-8485AA8F6D26}"/>
              </a:ext>
            </a:extLst>
          </p:cNvPr>
          <p:cNvSpPr/>
          <p:nvPr/>
        </p:nvSpPr>
        <p:spPr>
          <a:xfrm>
            <a:off x="2146154" y="3742534"/>
            <a:ext cx="3782174" cy="701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Design for additive manufacturing 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utomatic creation and optimization of lattice structu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3CEE7A-9D30-430D-869C-2750E1A07FB3}"/>
              </a:ext>
            </a:extLst>
          </p:cNvPr>
          <p:cNvSpPr/>
          <p:nvPr/>
        </p:nvSpPr>
        <p:spPr>
          <a:xfrm>
            <a:off x="495300" y="4492471"/>
            <a:ext cx="1510147" cy="17845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620415-EB3F-41F9-AB44-7C428524C69C}"/>
              </a:ext>
            </a:extLst>
          </p:cNvPr>
          <p:cNvSpPr/>
          <p:nvPr/>
        </p:nvSpPr>
        <p:spPr>
          <a:xfrm>
            <a:off x="2146156" y="4492471"/>
            <a:ext cx="4315536" cy="1784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utomated creation of 2 ½ D and 3D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lattice structures 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Full B-rep geometry (NOT an approximation using facet geometry)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eamless analysis and optimization of lattice structure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Lattices are optimized using Creo Simulate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Printer tray setup and nesting optimization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7437A4-B592-41A9-A94B-F43035BF18D5}"/>
              </a:ext>
            </a:extLst>
          </p:cNvPr>
          <p:cNvCxnSpPr>
            <a:cxnSpLocks/>
          </p:cNvCxnSpPr>
          <p:nvPr/>
        </p:nvCxnSpPr>
        <p:spPr>
          <a:xfrm>
            <a:off x="2102432" y="1866904"/>
            <a:ext cx="0" cy="81866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B87531D-3156-4C59-91A8-F98E541F738C}"/>
              </a:ext>
            </a:extLst>
          </p:cNvPr>
          <p:cNvCxnSpPr>
            <a:cxnSpLocks/>
          </p:cNvCxnSpPr>
          <p:nvPr/>
        </p:nvCxnSpPr>
        <p:spPr>
          <a:xfrm>
            <a:off x="2102432" y="2734327"/>
            <a:ext cx="0" cy="959443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32A032F-412D-4AEA-BC6F-8F07B7345869}"/>
              </a:ext>
            </a:extLst>
          </p:cNvPr>
          <p:cNvCxnSpPr>
            <a:cxnSpLocks/>
          </p:cNvCxnSpPr>
          <p:nvPr/>
        </p:nvCxnSpPr>
        <p:spPr>
          <a:xfrm>
            <a:off x="2102432" y="3742531"/>
            <a:ext cx="0" cy="70117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9BCA4F7-5635-4F2A-BBB8-1F50EDB81D42}"/>
              </a:ext>
            </a:extLst>
          </p:cNvPr>
          <p:cNvCxnSpPr>
            <a:cxnSpLocks/>
          </p:cNvCxnSpPr>
          <p:nvPr/>
        </p:nvCxnSpPr>
        <p:spPr>
          <a:xfrm>
            <a:off x="2102432" y="4492468"/>
            <a:ext cx="0" cy="178454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16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123</Words>
  <Application>Microsoft Office PowerPoint</Application>
  <PresentationFormat>Widescreen</PresentationFormat>
  <Paragraphs>2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ADDITIVE MANUFACTURING EXTEN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12:15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